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7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lnSpc>
                  <a:spcPct val="150000"/>
                </a:lnSpc>
                <a:spcBef>
                  <a:spcPct val="20000"/>
                </a:spcBef>
                <a:spcAft>
                  <a:spcPct val="10000"/>
                </a:spcAft>
                <a:buClr>
                  <a:schemeClr val="folHlink"/>
                </a:buClr>
              </a:pPr>
              <a:r>
                <a:rPr lang="en-GB" altLang="de-DE" sz="1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NUTZEN UND VORTEILE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BESCHREIBUNG 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noProof="1"/>
              <a:t>Verbessern Sie die Flexibilität des Flaschenprozesses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491418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noProof="1"/>
              <a:t>Quarzstangen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159A1C1-3134-4A3E-87A8-76ED53AE67C3}"/>
              </a:ext>
            </a:extLst>
          </p:cNvPr>
          <p:cNvSpPr txBox="1">
            <a:spLocks/>
          </p:cNvSpPr>
          <p:nvPr/>
        </p:nvSpPr>
        <p:spPr>
          <a:xfrm>
            <a:off x="651885" y="589297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</a:t>
            </a:r>
            <a:r>
              <a:rPr lang="en-GB" altLang="fr-FR" sz="800" dirty="0" err="1">
                <a:solidFill>
                  <a:srgbClr val="000000"/>
                </a:solidFill>
              </a:rPr>
              <a:t>Produktqualitä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</a:t>
            </a:r>
            <a:r>
              <a:rPr lang="fr-FR" sz="800" kern="0" dirty="0">
                <a:solidFill>
                  <a:srgbClr val="000000"/>
                </a:solidFill>
              </a:rPr>
              <a:t>S1 </a:t>
            </a:r>
            <a:r>
              <a:rPr lang="en-GB" altLang="fr-FR" sz="800" dirty="0">
                <a:solidFill>
                  <a:srgbClr val="000000"/>
                </a:solidFill>
              </a:rPr>
              <a:t>- </a:t>
            </a:r>
            <a:r>
              <a:rPr lang="en-GB" altLang="fr-FR" sz="800" dirty="0" err="1">
                <a:solidFill>
                  <a:srgbClr val="000000"/>
                </a:solidFill>
              </a:rPr>
              <a:t>Blasmaschinen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115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99C7DC8-D382-45DA-8045-8C3BF4101B8D}"/>
              </a:ext>
            </a:extLst>
          </p:cNvPr>
          <p:cNvSpPr/>
          <p:nvPr/>
        </p:nvSpPr>
        <p:spPr>
          <a:xfrm>
            <a:off x="4760867" y="2160646"/>
            <a:ext cx="38634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100" dirty="0"/>
              <a:t>Installation eines Quarzstabs zwischen der Heizlampe und dem Vorformling, um die IR-Strahlung zu konzentrieren / zu fokussieren.</a:t>
            </a:r>
          </a:p>
          <a:p>
            <a:endParaRPr lang="de-DE" sz="11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AFB7EA-0F98-4A36-BB23-40B03617BB0C}"/>
              </a:ext>
            </a:extLst>
          </p:cNvPr>
          <p:cNvSpPr/>
          <p:nvPr/>
        </p:nvSpPr>
        <p:spPr>
          <a:xfrm>
            <a:off x="642938" y="2233613"/>
            <a:ext cx="396240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Tragen Sie zur Lösung von Heizproblemen bei, insbesondere am Vorformling unter dem Halsbereich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Nur für die erste Zon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Empfohlen, um die Produktion von </a:t>
            </a:r>
            <a:r>
              <a:rPr lang="de-DE" altLang="fr-FR" sz="1200" dirty="0" err="1"/>
              <a:t>rPET</a:t>
            </a:r>
            <a:r>
              <a:rPr lang="de-DE" altLang="fr-FR" sz="1200" dirty="0"/>
              <a:t>-Flaschen zu sichern für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Flaschenhalsschutz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Prozess Robustheit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Gewährleistung einer optimalen Materialverteilung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781B49DE-9438-41BC-8866-A0388F1E5B6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12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5</TotalTime>
  <Words>80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imSun</vt:lpstr>
      <vt:lpstr>Arial</vt:lpstr>
      <vt:lpstr>Wingdings</vt:lpstr>
      <vt:lpstr>1_NewSidel_Template_4x3_with add layouts</vt:lpstr>
      <vt:lpstr>think-cell Folie</vt:lpstr>
      <vt:lpstr>Verbessern Sie die Flexibilität des Flaschenprozesse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3</cp:revision>
  <dcterms:created xsi:type="dcterms:W3CDTF">2018-02-10T17:04:39Z</dcterms:created>
  <dcterms:modified xsi:type="dcterms:W3CDTF">2021-02-12T15:3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